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  <p15:guide id="14" pos="54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74" autoAdjust="0"/>
    <p:restoredTop sz="95280" autoAdjust="0"/>
  </p:normalViewPr>
  <p:slideViewPr>
    <p:cSldViewPr snapToGrid="0" showGuides="1">
      <p:cViewPr varScale="1">
        <p:scale>
          <a:sx n="110" d="100"/>
          <a:sy n="110" d="100"/>
        </p:scale>
        <p:origin x="1830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  <p:guide pos="5442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4/11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4/11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16640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5752236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1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FZZhunYuan-M02S" pitchFamily="34" charset="-128"/>
                <a:cs typeface="+mn-cs"/>
              </a:rPr>
              <a:t>价值和益处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FZZhunYuan-M02S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zh-CN" altLang="fr-FR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FZZhunYuan-M02S"/>
                <a:cs typeface="Arial" charset="0"/>
              </a:rPr>
              <a:t>描述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/>
              <a:t>预计出现备件短缺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zh-CN" altLang="fr-FR" dirty="0"/>
              <a:t>新华纳股</a:t>
            </a:r>
            <a:endParaRPr lang="zh-CN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价值：更新换代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设备：</a:t>
            </a:r>
            <a:r>
              <a:rPr kumimoji="0" lang="fr-FR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Rollquattro</a:t>
            </a:r>
            <a:endParaRPr kumimoji="0" lang="fr-FR" altLang="zh-CN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产品目录代码：</a:t>
            </a: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FZZhunYuan-M02S"/>
                <a:cs typeface="+mn-cs"/>
              </a:rPr>
              <a:t>OCL00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FZZhunYuan-M02S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995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/>
              <a:t>Safer solution with newer component available from Sidel.</a:t>
            </a:r>
          </a:p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>
                <a:solidFill>
                  <a:srgbClr val="E64B00"/>
                </a:solidFill>
              </a:rPr>
              <a:t>Can prevent long downtimes in case of failure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Utilization of Old type Warner MCS kit, used for braking management of the label reels, composed by “Logic unit” (1) and “Power unit” (2) installed on </a:t>
            </a:r>
            <a:r>
              <a:rPr lang="en-US" altLang="x-none" sz="1100" dirty="0" err="1">
                <a:solidFill>
                  <a:srgbClr val="000000"/>
                </a:solidFill>
              </a:rPr>
              <a:t>Rollquattro</a:t>
            </a:r>
            <a:r>
              <a:rPr lang="en-US" altLang="x-none" sz="1100" dirty="0">
                <a:solidFill>
                  <a:srgbClr val="000000"/>
                </a:solidFill>
              </a:rPr>
              <a:t> and </a:t>
            </a:r>
            <a:r>
              <a:rPr lang="en-US" altLang="x-none" sz="1100" dirty="0" err="1">
                <a:solidFill>
                  <a:srgbClr val="000000"/>
                </a:solidFill>
              </a:rPr>
              <a:t>Rollquattro</a:t>
            </a:r>
            <a:r>
              <a:rPr lang="en-US" altLang="x-none" sz="1100" dirty="0">
                <a:solidFill>
                  <a:srgbClr val="000000"/>
                </a:solidFill>
              </a:rPr>
              <a:t> Evo range of Labelers, is discontinued by OEM supplier.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isk of imminent Spare Parts unavailability.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Risk of long Downtime for equipment at Bottlers prod plants.</a:t>
            </a:r>
          </a:p>
          <a:p>
            <a:pPr marL="136919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100" b="1" dirty="0">
                <a:solidFill>
                  <a:srgbClr val="E64B00"/>
                </a:solidFill>
              </a:rPr>
              <a:t>Improvements Vs. old type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Smaller space required inside the cabinet</a:t>
            </a:r>
          </a:p>
          <a:p>
            <a:pPr marL="479810" lvl="1" indent="-136919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Spare Parts granted availabil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19" lvl="1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New system with XCTRL-2DRV “all in one” Warner system: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The new system consists of a single unit by Warner.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It includes new installation retrofit kit, hardware and software modifications material.</a:t>
            </a:r>
          </a:p>
          <a:p>
            <a:pPr marL="479810" lvl="2" indent="-136919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175" algn="l"/>
                <a:tab pos="2363332" algn="l"/>
              </a:tabLst>
              <a:defRPr/>
            </a:pPr>
            <a:r>
              <a:rPr lang="en-US" altLang="x-none" sz="1100" dirty="0">
                <a:solidFill>
                  <a:srgbClr val="000000"/>
                </a:solidFill>
              </a:rPr>
              <a:t>It includes Sidel Automation engineer short intervention for installation and testing</a:t>
            </a:r>
          </a:p>
        </p:txBody>
      </p:sp>
      <p:sp>
        <p:nvSpPr>
          <p:cNvPr id="17" name="CasellaDiTesto 18">
            <a:extLst>
              <a:ext uri="{FF2B5EF4-FFF2-40B4-BE49-F238E27FC236}">
                <a16:creationId xmlns:a16="http://schemas.microsoft.com/office/drawing/2014/main" id="{851E74CD-E38F-43F6-9626-4D9E9ACFB48C}"/>
              </a:ext>
            </a:extLst>
          </p:cNvPr>
          <p:cNvSpPr txBox="1"/>
          <p:nvPr/>
        </p:nvSpPr>
        <p:spPr>
          <a:xfrm>
            <a:off x="4845214" y="4086458"/>
            <a:ext cx="1823597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50" b="1" i="1" dirty="0">
                <a:solidFill>
                  <a:schemeClr val="folHlink"/>
                </a:solidFill>
              </a:rPr>
              <a:t>Old Obsolete system</a:t>
            </a:r>
          </a:p>
        </p:txBody>
      </p:sp>
      <p:sp>
        <p:nvSpPr>
          <p:cNvPr id="18" name="CasellaDiTesto 21">
            <a:extLst>
              <a:ext uri="{FF2B5EF4-FFF2-40B4-BE49-F238E27FC236}">
                <a16:creationId xmlns:a16="http://schemas.microsoft.com/office/drawing/2014/main" id="{58201533-97D6-4E3C-AF65-77A46F2F6662}"/>
              </a:ext>
            </a:extLst>
          </p:cNvPr>
          <p:cNvSpPr txBox="1"/>
          <p:nvPr/>
        </p:nvSpPr>
        <p:spPr>
          <a:xfrm>
            <a:off x="6746404" y="4086458"/>
            <a:ext cx="1748308" cy="1459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altLang="it-IT" sz="750" b="1" i="1" dirty="0">
                <a:solidFill>
                  <a:schemeClr val="folHlink"/>
                </a:solidFill>
              </a:rPr>
              <a:t>New single piece system</a:t>
            </a:r>
            <a:endParaRPr lang="en-US" sz="750" b="1" i="1" dirty="0">
              <a:solidFill>
                <a:schemeClr val="folHlink"/>
              </a:solidFill>
            </a:endParaRPr>
          </a:p>
        </p:txBody>
      </p:sp>
      <p:pic>
        <p:nvPicPr>
          <p:cNvPr id="19" name="Immagine 3">
            <a:extLst>
              <a:ext uri="{FF2B5EF4-FFF2-40B4-BE49-F238E27FC236}">
                <a16:creationId xmlns:a16="http://schemas.microsoft.com/office/drawing/2014/main" id="{C1E28DDF-FE2F-46A3-83D4-278AFF9617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7750" y="4218091"/>
            <a:ext cx="1793525" cy="1327749"/>
          </a:xfrm>
          <a:prstGeom prst="rect">
            <a:avLst/>
          </a:prstGeom>
        </p:spPr>
      </p:pic>
      <p:pic>
        <p:nvPicPr>
          <p:cNvPr id="20" name="Immagine 8">
            <a:extLst>
              <a:ext uri="{FF2B5EF4-FFF2-40B4-BE49-F238E27FC236}">
                <a16:creationId xmlns:a16="http://schemas.microsoft.com/office/drawing/2014/main" id="{DDB2FC95-FD9F-44B5-B5EE-294FEF8C47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9662" y="4228438"/>
            <a:ext cx="601793" cy="1307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FZZhunYuan-M02S"/>
        <a:cs typeface=""/>
      </a:majorFont>
      <a:minorFont>
        <a:latin typeface="Arial"/>
        <a:ea typeface="FZZhunYuan-M02S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1353</TotalTime>
  <Words>192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宋体</vt:lpstr>
      <vt:lpstr>Arial</vt:lpstr>
      <vt:lpstr>FZZhunYuan-M02S</vt:lpstr>
      <vt:lpstr>Wingdings</vt:lpstr>
      <vt:lpstr>2_NewSidel_Template_4x3_with add layouts</vt:lpstr>
      <vt:lpstr>think-cell Folie</vt:lpstr>
      <vt:lpstr>预计出现备件短缺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5</cp:revision>
  <dcterms:created xsi:type="dcterms:W3CDTF">2019-02-20T10:39:16Z</dcterms:created>
  <dcterms:modified xsi:type="dcterms:W3CDTF">2020-11-04T09:0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